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-684" y="-102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59136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80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99438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XX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1 – XX/XX/2021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,XXX</a:t>
                      </a: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136957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用途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(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展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静展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等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)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使用天数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选择理由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师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年限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拍摄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设备（相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像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人机等）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具体搭建方案及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人数及具体表演方案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如果有不同表演内容请详细说明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餐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相关经历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酒水费用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明其他费用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方信息（若有）：合作方背景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模式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pic>
        <p:nvPicPr>
          <p:cNvPr id="7" name="图片 5">
            <a:extLst>
              <a:ext uri="{FF2B5EF4-FFF2-40B4-BE49-F238E27FC236}">
                <a16:creationId xmlns:a16="http://schemas.microsoft.com/office/drawing/2014/main" xmlns="" id="{678FB949-4BA1-0C4C-A94C-DCC5BCEA5D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873" y="1075747"/>
            <a:ext cx="9382258" cy="523842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177026" y="6322995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659</Words>
  <Application>Microsoft Office PowerPoint</Application>
  <PresentationFormat>自定义</PresentationFormat>
  <Paragraphs>192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44</cp:revision>
  <dcterms:created xsi:type="dcterms:W3CDTF">2022-02-15T07:41:51Z</dcterms:created>
  <dcterms:modified xsi:type="dcterms:W3CDTF">2022-04-01T15:50:36Z</dcterms:modified>
</cp:coreProperties>
</file>